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1"/>
    <p:sldMasterId id="2147483747" r:id="rId2"/>
  </p:sldMasterIdLst>
  <p:notesMasterIdLst>
    <p:notesMasterId r:id="rId10"/>
  </p:notesMasterIdLst>
  <p:handoutMasterIdLst>
    <p:handoutMasterId r:id="rId11"/>
  </p:handoutMasterIdLst>
  <p:sldIdLst>
    <p:sldId id="303" r:id="rId3"/>
    <p:sldId id="726" r:id="rId4"/>
    <p:sldId id="727" r:id="rId5"/>
    <p:sldId id="728" r:id="rId6"/>
    <p:sldId id="729" r:id="rId7"/>
    <p:sldId id="730" r:id="rId8"/>
    <p:sldId id="731" r:id="rId9"/>
  </p:sldIdLst>
  <p:sldSz cx="9144000" cy="6858000" type="screen4x3"/>
  <p:notesSz cx="6797675" cy="9928225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2AF2F"/>
    <a:srgbClr val="5C88D0"/>
    <a:srgbClr val="2A6EA8"/>
    <a:srgbClr val="B1D254"/>
    <a:srgbClr val="72732F"/>
    <a:srgbClr val="C6D254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91" autoAdjust="0"/>
    <p:restoredTop sz="83038" autoAdjust="0"/>
  </p:normalViewPr>
  <p:slideViewPr>
    <p:cSldViewPr snapToGrid="0">
      <p:cViewPr varScale="1">
        <p:scale>
          <a:sx n="52" d="100"/>
          <a:sy n="52" d="100"/>
        </p:scale>
        <p:origin x="1680" y="4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2280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ndramouli, Devaki (Nokia - US/Dallas)" userId="ebf2a9f8-651b-4485-926f-9d93c0eafbc5" providerId="ADAL" clId="{E5BEF2B3-B7C2-44FF-9333-79F1EDFD2FF5}"/>
    <pc:docChg chg="custSel addSld delSld modSld modMainMaster">
      <pc:chgData name="Chandramouli, Devaki (Nokia - US/Dallas)" userId="ebf2a9f8-651b-4485-926f-9d93c0eafbc5" providerId="ADAL" clId="{E5BEF2B3-B7C2-44FF-9333-79F1EDFD2FF5}" dt="2020-09-20T22:00:26.640" v="1647" actId="20577"/>
      <pc:docMkLst>
        <pc:docMk/>
      </pc:docMkLst>
      <pc:sldChg chg="modSp">
        <pc:chgData name="Chandramouli, Devaki (Nokia - US/Dallas)" userId="ebf2a9f8-651b-4485-926f-9d93c0eafbc5" providerId="ADAL" clId="{E5BEF2B3-B7C2-44FF-9333-79F1EDFD2FF5}" dt="2020-09-20T21:53:43.049" v="940" actId="20577"/>
        <pc:sldMkLst>
          <pc:docMk/>
          <pc:sldMk cId="0" sldId="303"/>
        </pc:sldMkLst>
        <pc:spChg chg="mod">
          <ac:chgData name="Chandramouli, Devaki (Nokia - US/Dallas)" userId="ebf2a9f8-651b-4485-926f-9d93c0eafbc5" providerId="ADAL" clId="{E5BEF2B3-B7C2-44FF-9333-79F1EDFD2FF5}" dt="2020-09-20T21:53:43.049" v="940" actId="20577"/>
          <ac:spMkLst>
            <pc:docMk/>
            <pc:sldMk cId="0" sldId="303"/>
            <ac:spMk id="4099" creationId="{00000000-0000-0000-0000-000000000000}"/>
          </ac:spMkLst>
        </pc:spChg>
        <pc:spChg chg="mod">
          <ac:chgData name="Chandramouli, Devaki (Nokia - US/Dallas)" userId="ebf2a9f8-651b-4485-926f-9d93c0eafbc5" providerId="ADAL" clId="{E5BEF2B3-B7C2-44FF-9333-79F1EDFD2FF5}" dt="2020-09-20T21:03:43.832" v="126" actId="20577"/>
          <ac:spMkLst>
            <pc:docMk/>
            <pc:sldMk cId="0" sldId="303"/>
            <ac:spMk id="9219" creationId="{00000000-0000-0000-0000-000000000000}"/>
          </ac:spMkLst>
        </pc:spChg>
      </pc:sldChg>
      <pc:sldChg chg="del">
        <pc:chgData name="Chandramouli, Devaki (Nokia - US/Dallas)" userId="ebf2a9f8-651b-4485-926f-9d93c0eafbc5" providerId="ADAL" clId="{E5BEF2B3-B7C2-44FF-9333-79F1EDFD2FF5}" dt="2020-09-20T20:36:33.031" v="1" actId="2696"/>
        <pc:sldMkLst>
          <pc:docMk/>
          <pc:sldMk cId="0" sldId="704"/>
        </pc:sldMkLst>
      </pc:sldChg>
      <pc:sldChg chg="del">
        <pc:chgData name="Chandramouli, Devaki (Nokia - US/Dallas)" userId="ebf2a9f8-651b-4485-926f-9d93c0eafbc5" providerId="ADAL" clId="{E5BEF2B3-B7C2-44FF-9333-79F1EDFD2FF5}" dt="2020-09-20T20:36:32.308" v="0" actId="2696"/>
        <pc:sldMkLst>
          <pc:docMk/>
          <pc:sldMk cId="0" sldId="720"/>
        </pc:sldMkLst>
      </pc:sldChg>
      <pc:sldChg chg="del">
        <pc:chgData name="Chandramouli, Devaki (Nokia - US/Dallas)" userId="ebf2a9f8-651b-4485-926f-9d93c0eafbc5" providerId="ADAL" clId="{E5BEF2B3-B7C2-44FF-9333-79F1EDFD2FF5}" dt="2020-09-20T20:37:01.566" v="8" actId="2696"/>
        <pc:sldMkLst>
          <pc:docMk/>
          <pc:sldMk cId="0" sldId="723"/>
        </pc:sldMkLst>
      </pc:sldChg>
      <pc:sldChg chg="del">
        <pc:chgData name="Chandramouli, Devaki (Nokia - US/Dallas)" userId="ebf2a9f8-651b-4485-926f-9d93c0eafbc5" providerId="ADAL" clId="{E5BEF2B3-B7C2-44FF-9333-79F1EDFD2FF5}" dt="2020-09-20T20:36:35.749" v="4" actId="2696"/>
        <pc:sldMkLst>
          <pc:docMk/>
          <pc:sldMk cId="0" sldId="724"/>
        </pc:sldMkLst>
      </pc:sldChg>
      <pc:sldChg chg="modSp add del">
        <pc:chgData name="Chandramouli, Devaki (Nokia - US/Dallas)" userId="ebf2a9f8-651b-4485-926f-9d93c0eafbc5" providerId="ADAL" clId="{E5BEF2B3-B7C2-44FF-9333-79F1EDFD2FF5}" dt="2020-09-20T21:44:18.941" v="412" actId="2696"/>
        <pc:sldMkLst>
          <pc:docMk/>
          <pc:sldMk cId="2483138704" sldId="724"/>
        </pc:sldMkLst>
        <pc:spChg chg="mod">
          <ac:chgData name="Chandramouli, Devaki (Nokia - US/Dallas)" userId="ebf2a9f8-651b-4485-926f-9d93c0eafbc5" providerId="ADAL" clId="{E5BEF2B3-B7C2-44FF-9333-79F1EDFD2FF5}" dt="2020-09-20T21:43:26.005" v="401"/>
          <ac:spMkLst>
            <pc:docMk/>
            <pc:sldMk cId="2483138704" sldId="724"/>
            <ac:spMk id="2" creationId="{AFA5BEE8-43FB-4E12-86FB-955228D73D10}"/>
          </ac:spMkLst>
        </pc:spChg>
        <pc:spChg chg="mod">
          <ac:chgData name="Chandramouli, Devaki (Nokia - US/Dallas)" userId="ebf2a9f8-651b-4485-926f-9d93c0eafbc5" providerId="ADAL" clId="{E5BEF2B3-B7C2-44FF-9333-79F1EDFD2FF5}" dt="2020-09-20T21:29:50.903" v="222" actId="20577"/>
          <ac:spMkLst>
            <pc:docMk/>
            <pc:sldMk cId="2483138704" sldId="724"/>
            <ac:spMk id="3" creationId="{8DE56095-A993-442B-980E-CB0CCE6C2A6A}"/>
          </ac:spMkLst>
        </pc:spChg>
      </pc:sldChg>
      <pc:sldChg chg="del">
        <pc:chgData name="Chandramouli, Devaki (Nokia - US/Dallas)" userId="ebf2a9f8-651b-4485-926f-9d93c0eafbc5" providerId="ADAL" clId="{E5BEF2B3-B7C2-44FF-9333-79F1EDFD2FF5}" dt="2020-09-20T20:36:34.644" v="3" actId="2696"/>
        <pc:sldMkLst>
          <pc:docMk/>
          <pc:sldMk cId="0" sldId="725"/>
        </pc:sldMkLst>
      </pc:sldChg>
      <pc:sldChg chg="delSp modSp add del">
        <pc:chgData name="Chandramouli, Devaki (Nokia - US/Dallas)" userId="ebf2a9f8-651b-4485-926f-9d93c0eafbc5" providerId="ADAL" clId="{E5BEF2B3-B7C2-44FF-9333-79F1EDFD2FF5}" dt="2020-09-20T21:44:19.939" v="413" actId="2696"/>
        <pc:sldMkLst>
          <pc:docMk/>
          <pc:sldMk cId="1509387282" sldId="725"/>
        </pc:sldMkLst>
        <pc:spChg chg="mod">
          <ac:chgData name="Chandramouli, Devaki (Nokia - US/Dallas)" userId="ebf2a9f8-651b-4485-926f-9d93c0eafbc5" providerId="ADAL" clId="{E5BEF2B3-B7C2-44FF-9333-79F1EDFD2FF5}" dt="2020-09-20T21:43:46.585" v="405"/>
          <ac:spMkLst>
            <pc:docMk/>
            <pc:sldMk cId="1509387282" sldId="725"/>
            <ac:spMk id="2" creationId="{61033828-1014-436F-8460-79838597616A}"/>
          </ac:spMkLst>
        </pc:spChg>
        <pc:spChg chg="mod">
          <ac:chgData name="Chandramouli, Devaki (Nokia - US/Dallas)" userId="ebf2a9f8-651b-4485-926f-9d93c0eafbc5" providerId="ADAL" clId="{E5BEF2B3-B7C2-44FF-9333-79F1EDFD2FF5}" dt="2020-09-20T21:30:10.118" v="263" actId="20577"/>
          <ac:spMkLst>
            <pc:docMk/>
            <pc:sldMk cId="1509387282" sldId="725"/>
            <ac:spMk id="3" creationId="{659CB5EE-9A84-4EFF-92CE-EBBC9F3369DA}"/>
          </ac:spMkLst>
        </pc:spChg>
        <pc:spChg chg="del">
          <ac:chgData name="Chandramouli, Devaki (Nokia - US/Dallas)" userId="ebf2a9f8-651b-4485-926f-9d93c0eafbc5" providerId="ADAL" clId="{E5BEF2B3-B7C2-44FF-9333-79F1EDFD2FF5}" dt="2020-09-20T21:40:45.976" v="399" actId="478"/>
          <ac:spMkLst>
            <pc:docMk/>
            <pc:sldMk cId="1509387282" sldId="725"/>
            <ac:spMk id="4" creationId="{E8A146B7-D798-485F-97A9-5522C7A7FEE9}"/>
          </ac:spMkLst>
        </pc:spChg>
      </pc:sldChg>
      <pc:sldChg chg="del">
        <pc:chgData name="Chandramouli, Devaki (Nokia - US/Dallas)" userId="ebf2a9f8-651b-4485-926f-9d93c0eafbc5" providerId="ADAL" clId="{E5BEF2B3-B7C2-44FF-9333-79F1EDFD2FF5}" dt="2020-09-20T20:36:33.958" v="2" actId="2696"/>
        <pc:sldMkLst>
          <pc:docMk/>
          <pc:sldMk cId="0" sldId="726"/>
        </pc:sldMkLst>
      </pc:sldChg>
      <pc:sldChg chg="modSp add">
        <pc:chgData name="Chandramouli, Devaki (Nokia - US/Dallas)" userId="ebf2a9f8-651b-4485-926f-9d93c0eafbc5" providerId="ADAL" clId="{E5BEF2B3-B7C2-44FF-9333-79F1EDFD2FF5}" dt="2020-09-20T21:48:37.705" v="766" actId="255"/>
        <pc:sldMkLst>
          <pc:docMk/>
          <pc:sldMk cId="297726682" sldId="726"/>
        </pc:sldMkLst>
        <pc:spChg chg="mod">
          <ac:chgData name="Chandramouli, Devaki (Nokia - US/Dallas)" userId="ebf2a9f8-651b-4485-926f-9d93c0eafbc5" providerId="ADAL" clId="{E5BEF2B3-B7C2-44FF-9333-79F1EDFD2FF5}" dt="2020-09-20T21:44:05.998" v="410" actId="20577"/>
          <ac:spMkLst>
            <pc:docMk/>
            <pc:sldMk cId="297726682" sldId="726"/>
            <ac:spMk id="2" creationId="{F94200EA-B8B2-4A78-9F4F-66CC150E6E12}"/>
          </ac:spMkLst>
        </pc:spChg>
        <pc:spChg chg="mod">
          <ac:chgData name="Chandramouli, Devaki (Nokia - US/Dallas)" userId="ebf2a9f8-651b-4485-926f-9d93c0eafbc5" providerId="ADAL" clId="{E5BEF2B3-B7C2-44FF-9333-79F1EDFD2FF5}" dt="2020-09-20T21:48:37.705" v="766" actId="255"/>
          <ac:spMkLst>
            <pc:docMk/>
            <pc:sldMk cId="297726682" sldId="726"/>
            <ac:spMk id="3" creationId="{D6578126-592B-44F1-83F1-2FD85F73B618}"/>
          </ac:spMkLst>
        </pc:spChg>
      </pc:sldChg>
      <pc:sldChg chg="addSp delSp modSp add">
        <pc:chgData name="Chandramouli, Devaki (Nokia - US/Dallas)" userId="ebf2a9f8-651b-4485-926f-9d93c0eafbc5" providerId="ADAL" clId="{E5BEF2B3-B7C2-44FF-9333-79F1EDFD2FF5}" dt="2020-09-20T21:46:43.276" v="601" actId="20577"/>
        <pc:sldMkLst>
          <pc:docMk/>
          <pc:sldMk cId="166559788" sldId="727"/>
        </pc:sldMkLst>
        <pc:spChg chg="mod">
          <ac:chgData name="Chandramouli, Devaki (Nokia - US/Dallas)" userId="ebf2a9f8-651b-4485-926f-9d93c0eafbc5" providerId="ADAL" clId="{E5BEF2B3-B7C2-44FF-9333-79F1EDFD2FF5}" dt="2020-09-20T21:44:09.880" v="411" actId="6549"/>
          <ac:spMkLst>
            <pc:docMk/>
            <pc:sldMk cId="166559788" sldId="727"/>
            <ac:spMk id="2" creationId="{F4FFCCD4-A457-47E3-BB09-2A4CCDAC1761}"/>
          </ac:spMkLst>
        </pc:spChg>
        <pc:spChg chg="mod">
          <ac:chgData name="Chandramouli, Devaki (Nokia - US/Dallas)" userId="ebf2a9f8-651b-4485-926f-9d93c0eafbc5" providerId="ADAL" clId="{E5BEF2B3-B7C2-44FF-9333-79F1EDFD2FF5}" dt="2020-09-20T21:46:43.276" v="601" actId="20577"/>
          <ac:spMkLst>
            <pc:docMk/>
            <pc:sldMk cId="166559788" sldId="727"/>
            <ac:spMk id="3" creationId="{60EEF122-904C-45BD-B2F2-57A8D898BDF4}"/>
          </ac:spMkLst>
        </pc:spChg>
        <pc:spChg chg="add del">
          <ac:chgData name="Chandramouli, Devaki (Nokia - US/Dallas)" userId="ebf2a9f8-651b-4485-926f-9d93c0eafbc5" providerId="ADAL" clId="{E5BEF2B3-B7C2-44FF-9333-79F1EDFD2FF5}" dt="2020-09-20T21:46:12.390" v="580"/>
          <ac:spMkLst>
            <pc:docMk/>
            <pc:sldMk cId="166559788" sldId="727"/>
            <ac:spMk id="4" creationId="{9E502D4F-B2A6-4E1D-8C09-2C022A1385F9}"/>
          </ac:spMkLst>
        </pc:spChg>
      </pc:sldChg>
      <pc:sldChg chg="modSp add">
        <pc:chgData name="Chandramouli, Devaki (Nokia - US/Dallas)" userId="ebf2a9f8-651b-4485-926f-9d93c0eafbc5" providerId="ADAL" clId="{E5BEF2B3-B7C2-44FF-9333-79F1EDFD2FF5}" dt="2020-09-20T21:51:30.040" v="886" actId="5793"/>
        <pc:sldMkLst>
          <pc:docMk/>
          <pc:sldMk cId="1109139802" sldId="728"/>
        </pc:sldMkLst>
        <pc:spChg chg="mod">
          <ac:chgData name="Chandramouli, Devaki (Nokia - US/Dallas)" userId="ebf2a9f8-651b-4485-926f-9d93c0eafbc5" providerId="ADAL" clId="{E5BEF2B3-B7C2-44FF-9333-79F1EDFD2FF5}" dt="2020-09-20T21:45:12.228" v="422" actId="113"/>
          <ac:spMkLst>
            <pc:docMk/>
            <pc:sldMk cId="1109139802" sldId="728"/>
            <ac:spMk id="2" creationId="{F4FFCCD4-A457-47E3-BB09-2A4CCDAC1761}"/>
          </ac:spMkLst>
        </pc:spChg>
        <pc:spChg chg="mod">
          <ac:chgData name="Chandramouli, Devaki (Nokia - US/Dallas)" userId="ebf2a9f8-651b-4485-926f-9d93c0eafbc5" providerId="ADAL" clId="{E5BEF2B3-B7C2-44FF-9333-79F1EDFD2FF5}" dt="2020-09-20T21:51:30.040" v="886" actId="5793"/>
          <ac:spMkLst>
            <pc:docMk/>
            <pc:sldMk cId="1109139802" sldId="728"/>
            <ac:spMk id="3" creationId="{60EEF122-904C-45BD-B2F2-57A8D898BDF4}"/>
          </ac:spMkLst>
        </pc:spChg>
      </pc:sldChg>
      <pc:sldChg chg="modSp add">
        <pc:chgData name="Chandramouli, Devaki (Nokia - US/Dallas)" userId="ebf2a9f8-651b-4485-926f-9d93c0eafbc5" providerId="ADAL" clId="{E5BEF2B3-B7C2-44FF-9333-79F1EDFD2FF5}" dt="2020-09-20T21:53:14.186" v="906" actId="15"/>
        <pc:sldMkLst>
          <pc:docMk/>
          <pc:sldMk cId="3935128638" sldId="729"/>
        </pc:sldMkLst>
        <pc:spChg chg="mod">
          <ac:chgData name="Chandramouli, Devaki (Nokia - US/Dallas)" userId="ebf2a9f8-651b-4485-926f-9d93c0eafbc5" providerId="ADAL" clId="{E5BEF2B3-B7C2-44FF-9333-79F1EDFD2FF5}" dt="2020-09-20T21:52:29.991" v="892" actId="113"/>
          <ac:spMkLst>
            <pc:docMk/>
            <pc:sldMk cId="3935128638" sldId="729"/>
            <ac:spMk id="2" creationId="{67C25683-A7FB-4D8F-AF7D-D0F012760FBF}"/>
          </ac:spMkLst>
        </pc:spChg>
        <pc:spChg chg="mod">
          <ac:chgData name="Chandramouli, Devaki (Nokia - US/Dallas)" userId="ebf2a9f8-651b-4485-926f-9d93c0eafbc5" providerId="ADAL" clId="{E5BEF2B3-B7C2-44FF-9333-79F1EDFD2FF5}" dt="2020-09-20T21:53:14.186" v="906" actId="15"/>
          <ac:spMkLst>
            <pc:docMk/>
            <pc:sldMk cId="3935128638" sldId="729"/>
            <ac:spMk id="3" creationId="{6589258C-F3B0-4661-9461-6BE5C76AD563}"/>
          </ac:spMkLst>
        </pc:spChg>
      </pc:sldChg>
      <pc:sldChg chg="modSp add">
        <pc:chgData name="Chandramouli, Devaki (Nokia - US/Dallas)" userId="ebf2a9f8-651b-4485-926f-9d93c0eafbc5" providerId="ADAL" clId="{E5BEF2B3-B7C2-44FF-9333-79F1EDFD2FF5}" dt="2020-09-20T21:55:08.230" v="967" actId="207"/>
        <pc:sldMkLst>
          <pc:docMk/>
          <pc:sldMk cId="1951207650" sldId="730"/>
        </pc:sldMkLst>
        <pc:spChg chg="mod">
          <ac:chgData name="Chandramouli, Devaki (Nokia - US/Dallas)" userId="ebf2a9f8-651b-4485-926f-9d93c0eafbc5" providerId="ADAL" clId="{E5BEF2B3-B7C2-44FF-9333-79F1EDFD2FF5}" dt="2020-09-20T21:54:30.579" v="951"/>
          <ac:spMkLst>
            <pc:docMk/>
            <pc:sldMk cId="1951207650" sldId="730"/>
            <ac:spMk id="2" creationId="{F3E392F7-1062-4BC0-AC7A-D695604049BD}"/>
          </ac:spMkLst>
        </pc:spChg>
        <pc:spChg chg="mod">
          <ac:chgData name="Chandramouli, Devaki (Nokia - US/Dallas)" userId="ebf2a9f8-651b-4485-926f-9d93c0eafbc5" providerId="ADAL" clId="{E5BEF2B3-B7C2-44FF-9333-79F1EDFD2FF5}" dt="2020-09-20T21:55:08.230" v="967" actId="207"/>
          <ac:spMkLst>
            <pc:docMk/>
            <pc:sldMk cId="1951207650" sldId="730"/>
            <ac:spMk id="3" creationId="{A1FBFDEF-0761-4B81-AA8C-DEB3AAB49F9D}"/>
          </ac:spMkLst>
        </pc:spChg>
      </pc:sldChg>
      <pc:sldChg chg="modSp add">
        <pc:chgData name="Chandramouli, Devaki (Nokia - US/Dallas)" userId="ebf2a9f8-651b-4485-926f-9d93c0eafbc5" providerId="ADAL" clId="{E5BEF2B3-B7C2-44FF-9333-79F1EDFD2FF5}" dt="2020-09-20T22:00:26.640" v="1647" actId="20577"/>
        <pc:sldMkLst>
          <pc:docMk/>
          <pc:sldMk cId="4285774284" sldId="731"/>
        </pc:sldMkLst>
        <pc:spChg chg="mod">
          <ac:chgData name="Chandramouli, Devaki (Nokia - US/Dallas)" userId="ebf2a9f8-651b-4485-926f-9d93c0eafbc5" providerId="ADAL" clId="{E5BEF2B3-B7C2-44FF-9333-79F1EDFD2FF5}" dt="2020-09-20T21:59:41.605" v="1612" actId="20577"/>
          <ac:spMkLst>
            <pc:docMk/>
            <pc:sldMk cId="4285774284" sldId="731"/>
            <ac:spMk id="2" creationId="{CDD64A24-98ED-407D-9A5D-21AFA1349C90}"/>
          </ac:spMkLst>
        </pc:spChg>
        <pc:spChg chg="mod">
          <ac:chgData name="Chandramouli, Devaki (Nokia - US/Dallas)" userId="ebf2a9f8-651b-4485-926f-9d93c0eafbc5" providerId="ADAL" clId="{E5BEF2B3-B7C2-44FF-9333-79F1EDFD2FF5}" dt="2020-09-20T22:00:26.640" v="1647" actId="20577"/>
          <ac:spMkLst>
            <pc:docMk/>
            <pc:sldMk cId="4285774284" sldId="731"/>
            <ac:spMk id="3" creationId="{D9AB0707-4F80-448D-9270-B7907F55FED9}"/>
          </ac:spMkLst>
        </pc:spChg>
      </pc:sldChg>
      <pc:sldMasterChg chg="modSp delSldLayout modSldLayout">
        <pc:chgData name="Chandramouli, Devaki (Nokia - US/Dallas)" userId="ebf2a9f8-651b-4485-926f-9d93c0eafbc5" providerId="ADAL" clId="{E5BEF2B3-B7C2-44FF-9333-79F1EDFD2FF5}" dt="2020-09-20T21:54:00.897" v="948" actId="20577"/>
        <pc:sldMasterMkLst>
          <pc:docMk/>
          <pc:sldMasterMk cId="0" sldId="2147483729"/>
        </pc:sldMasterMkLst>
        <pc:spChg chg="mod">
          <ac:chgData name="Chandramouli, Devaki (Nokia - US/Dallas)" userId="ebf2a9f8-651b-4485-926f-9d93c0eafbc5" providerId="ADAL" clId="{E5BEF2B3-B7C2-44FF-9333-79F1EDFD2FF5}" dt="2020-09-20T21:02:18.609" v="58" actId="20577"/>
          <ac:spMkLst>
            <pc:docMk/>
            <pc:sldMasterMk cId="0" sldId="2147483729"/>
            <ac:spMk id="8" creationId="{00000000-0000-0000-0000-000000000000}"/>
          </ac:spMkLst>
        </pc:spChg>
        <pc:spChg chg="mod">
          <ac:chgData name="Chandramouli, Devaki (Nokia - US/Dallas)" userId="ebf2a9f8-651b-4485-926f-9d93c0eafbc5" providerId="ADAL" clId="{E5BEF2B3-B7C2-44FF-9333-79F1EDFD2FF5}" dt="2020-09-20T21:54:00.897" v="948" actId="20577"/>
          <ac:spMkLst>
            <pc:docMk/>
            <pc:sldMasterMk cId="0" sldId="2147483729"/>
            <ac:spMk id="14" creationId="{00000000-0000-0000-0000-000000000000}"/>
          </ac:spMkLst>
        </pc:spChg>
        <pc:sldLayoutChg chg="modSp">
          <pc:chgData name="Chandramouli, Devaki (Nokia - US/Dallas)" userId="ebf2a9f8-651b-4485-926f-9d93c0eafbc5" providerId="ADAL" clId="{E5BEF2B3-B7C2-44FF-9333-79F1EDFD2FF5}" dt="2020-09-20T21:02:03.929" v="46" actId="20577"/>
          <pc:sldLayoutMkLst>
            <pc:docMk/>
            <pc:sldMasterMk cId="0" sldId="2147483729"/>
            <pc:sldLayoutMk cId="0" sldId="2147483746"/>
          </pc:sldLayoutMkLst>
          <pc:spChg chg="mod">
            <ac:chgData name="Chandramouli, Devaki (Nokia - US/Dallas)" userId="ebf2a9f8-651b-4485-926f-9d93c0eafbc5" providerId="ADAL" clId="{E5BEF2B3-B7C2-44FF-9333-79F1EDFD2FF5}" dt="2020-09-20T21:02:03.929" v="46" actId="20577"/>
            <ac:spMkLst>
              <pc:docMk/>
              <pc:sldMasterMk cId="0" sldId="2147483729"/>
              <pc:sldLayoutMk cId="0" sldId="2147483746"/>
              <ac:spMk id="4" creationId="{00000000-0000-0000-0000-000000000000}"/>
            </ac:spMkLst>
          </pc:spChg>
        </pc:sldLayoutChg>
        <pc:sldLayoutChg chg="del">
          <pc:chgData name="Chandramouli, Devaki (Nokia - US/Dallas)" userId="ebf2a9f8-651b-4485-926f-9d93c0eafbc5" providerId="ADAL" clId="{E5BEF2B3-B7C2-44FF-9333-79F1EDFD2FF5}" dt="2020-09-20T20:36:35.750" v="5" actId="2696"/>
          <pc:sldLayoutMkLst>
            <pc:docMk/>
            <pc:sldMasterMk cId="0" sldId="2147483729"/>
            <pc:sldLayoutMk cId="0" sldId="2147483751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2947778C-B3F3-4F7A-BB91-EB5F63B274A2}" type="datetime1">
              <a:rPr lang="en-US"/>
              <a:pPr>
                <a:defRPr/>
              </a:pPr>
              <a:t>9/20/2020</a:t>
            </a:fld>
            <a:endParaRPr lang="en-US" dirty="0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9A2E6ED2-3E23-4C28-8972-3DFEE8710EA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50198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4ADFB8CB-F854-47F2-9DE9-2171C7CFA03A}" type="datetime1">
              <a:rPr lang="en-US"/>
              <a:pPr>
                <a:defRPr/>
              </a:pPr>
              <a:t>9/20/2020</a:t>
            </a:fld>
            <a:endParaRPr lang="en-US" dirty="0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84750" cy="44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1FA72314-C842-479C-B40D-6B35198B29F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600204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9B20BC9-C500-49C5-9C37-D50BBA60A0E0}" type="slidenum">
              <a:rPr lang="en-GB" altLang="en-US"/>
              <a:pPr/>
              <a:t>1</a:t>
            </a:fld>
            <a:endParaRPr lang="en-GB" altLang="en-US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7287" cy="3725863"/>
          </a:xfrm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467225"/>
          </a:xfrm>
          <a:noFill/>
          <a:ln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3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334364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4"/>
          <p:cNvSpPr txBox="1">
            <a:spLocks noChangeArrowheads="1"/>
          </p:cNvSpPr>
          <p:nvPr userDrawn="1"/>
        </p:nvSpPr>
        <p:spPr bwMode="auto">
          <a:xfrm>
            <a:off x="323850" y="73033"/>
            <a:ext cx="58102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sv-SE" sz="1200" b="1" dirty="0">
                <a:latin typeface="Arial "/>
              </a:rPr>
              <a:t>3GPP TSG SA WG2#141E </a:t>
            </a:r>
          </a:p>
          <a:p>
            <a:pPr eaLnBrk="1" hangingPunct="1">
              <a:defRPr/>
            </a:pPr>
            <a:r>
              <a:rPr lang="sv-SE" sz="1200" b="1" dirty="0" err="1">
                <a:latin typeface="Arial "/>
              </a:rPr>
              <a:t>Elbonia</a:t>
            </a:r>
            <a:r>
              <a:rPr lang="sv-SE" sz="1200" b="1" dirty="0">
                <a:latin typeface="Arial "/>
              </a:rPr>
              <a:t> </a:t>
            </a:r>
            <a:r>
              <a:rPr lang="sv-SE" sz="1200" b="1" dirty="0" err="1">
                <a:latin typeface="Arial "/>
              </a:rPr>
              <a:t>xx-xx</a:t>
            </a:r>
            <a:r>
              <a:rPr lang="sv-SE" sz="1200" b="1" dirty="0">
                <a:latin typeface="Arial "/>
              </a:rPr>
              <a:t>, </a:t>
            </a:r>
            <a:r>
              <a:rPr lang="sv-SE" sz="1200" b="1" dirty="0" err="1">
                <a:latin typeface="Arial "/>
              </a:rPr>
              <a:t>October</a:t>
            </a:r>
            <a:r>
              <a:rPr lang="sv-SE" sz="1200" b="1" dirty="0">
                <a:latin typeface="Arial "/>
              </a:rPr>
              <a:t> 2020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4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44991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44974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AutoShape 14"/>
          <p:cNvSpPr>
            <a:spLocks noChangeArrowheads="1"/>
          </p:cNvSpPr>
          <p:nvPr userDrawn="1"/>
        </p:nvSpPr>
        <p:spPr bwMode="auto">
          <a:xfrm>
            <a:off x="590553" y="6373813"/>
            <a:ext cx="6169025" cy="323851"/>
          </a:xfrm>
          <a:prstGeom prst="homePlate">
            <a:avLst>
              <a:gd name="adj" fmla="val 91541"/>
            </a:avLst>
          </a:prstGeom>
          <a:solidFill>
            <a:srgbClr val="72AF2F">
              <a:alpha val="94901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88950" y="228600"/>
            <a:ext cx="6827838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5775" y="1454152"/>
            <a:ext cx="8388350" cy="483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 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595316" y="6394457"/>
            <a:ext cx="4422775" cy="311151"/>
          </a:xfrm>
          <a:prstGeom prst="rect">
            <a:avLst/>
          </a:prstGeom>
          <a:noFill/>
        </p:spPr>
        <p:txBody>
          <a:bodyPr anchor="ctr">
            <a:normAutofit/>
          </a:bodyPr>
          <a:lstStyle/>
          <a:p>
            <a:pPr>
              <a:defRPr/>
            </a:pPr>
            <a:r>
              <a:rPr lang="en-GB" spc="300" dirty="0"/>
              <a:t>3GPP TSG SA WG2, xx-</a:t>
            </a:r>
            <a:r>
              <a:rPr lang="en-GB" spc="300" dirty="0" err="1"/>
              <a:t>xx.October</a:t>
            </a:r>
            <a:r>
              <a:rPr lang="en-GB" spc="300" dirty="0"/>
              <a:t> 2020</a:t>
            </a:r>
            <a:endParaRPr lang="en-GB" spc="300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 bwMode="auto">
          <a:xfrm>
            <a:off x="8318512" y="6383345"/>
            <a:ext cx="511175" cy="296863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fld id="{38BB483D-C369-491B-B1D1-2AD91BB702B7}" type="slidenum">
              <a:rPr lang="en-GB" altLang="en-US" b="1"/>
              <a:pPr algn="ctr">
                <a:defRPr/>
              </a:pPr>
              <a:t>‹#›</a:t>
            </a:fld>
            <a:endParaRPr lang="en-GB" altLang="en-US" b="1"/>
          </a:p>
          <a:p>
            <a:pPr>
              <a:defRPr/>
            </a:pPr>
            <a:endParaRPr lang="en-GB" altLang="en-US"/>
          </a:p>
        </p:txBody>
      </p:sp>
      <p:sp>
        <p:nvSpPr>
          <p:cNvPr id="1031" name="Rectangle 15"/>
          <p:cNvSpPr>
            <a:spLocks noChangeArrowheads="1"/>
          </p:cNvSpPr>
          <p:nvPr userDrawn="1"/>
        </p:nvSpPr>
        <p:spPr bwMode="auto">
          <a:xfrm>
            <a:off x="4086225" y="3303595"/>
            <a:ext cx="971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GB">
                <a:solidFill>
                  <a:schemeClr val="bg1"/>
                </a:solidFill>
              </a:rPr>
              <a:t>© 3GPP 2012</a:t>
            </a:r>
            <a:endParaRPr lang="en-GB"/>
          </a:p>
        </p:txBody>
      </p:sp>
      <p:sp>
        <p:nvSpPr>
          <p:cNvPr id="8" name="Text Box 13"/>
          <p:cNvSpPr txBox="1">
            <a:spLocks noChangeArrowheads="1"/>
          </p:cNvSpPr>
          <p:nvPr userDrawn="1"/>
        </p:nvSpPr>
        <p:spPr bwMode="auto">
          <a:xfrm>
            <a:off x="7639052" y="17780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20xxxx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3" r:id="rId2"/>
    <p:sldLayoutId id="2147483744" r:id="rId3"/>
  </p:sldLayoutIdLst>
  <p:transition spd="slow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Blip>
          <a:blip r:embed="rId5"/>
        </a:buBlip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31" name="Object 3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9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79163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6553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11281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456267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62208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58674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374651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372533"/>
            <a:ext cx="82296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452042"/>
            <a:ext cx="82296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9144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>
              <a:lnSpc>
                <a:spcPct val="90000"/>
              </a:lnSpc>
              <a:spcBef>
                <a:spcPct val="50000"/>
              </a:spcBef>
              <a:buClr>
                <a:srgbClr val="00C9FF"/>
              </a:buClr>
              <a:defRPr/>
            </a:pPr>
            <a:r>
              <a:rPr lang="en-US" dirty="0">
                <a:solidFill>
                  <a:srgbClr val="FFFFFF"/>
                </a:solidFill>
                <a:latin typeface="Nokia Pure Text Light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0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51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ackground</a:t>
            </a:r>
            <a:r>
              <a:rPr lang="en-GB" sz="500" b="1" dirty="0">
                <a:solidFill>
                  <a:srgbClr val="FFFFFF"/>
                </a:solidFill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26" y="6191252"/>
            <a:ext cx="687387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20/09/2020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6191252"/>
            <a:ext cx="144462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7959738" y="6229351"/>
            <a:ext cx="701675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41" y="6191259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/>
            <a:r>
              <a:rPr lang="en-GB" sz="800" dirty="0">
                <a:solidFill>
                  <a:srgbClr val="68717A"/>
                </a:solidFill>
                <a:latin typeface="Nokia Pure Text Light"/>
                <a:cs typeface="Arial" charset="0"/>
              </a:rPr>
              <a:t>© Nokia 2015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503366" y="6333067"/>
            <a:ext cx="6078537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2" y="6383875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>
              <a:defRPr/>
            </a:pPr>
            <a:r>
              <a:rPr lang="en-GB" sz="800">
                <a:solidFill>
                  <a:srgbClr val="68717A"/>
                </a:solidFill>
                <a:latin typeface="Nokia Pure Text Light"/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latin typeface="Nokia Pure Text Light"/>
              <a:cs typeface="Arial" charset="0"/>
            </a:endParaRPr>
          </a:p>
        </p:txBody>
      </p:sp>
      <p:sp>
        <p:nvSpPr>
          <p:cNvPr id="33" name="Text Box 13"/>
          <p:cNvSpPr txBox="1">
            <a:spLocks noChangeArrowheads="1"/>
          </p:cNvSpPr>
          <p:nvPr userDrawn="1"/>
        </p:nvSpPr>
        <p:spPr bwMode="auto">
          <a:xfrm>
            <a:off x="7649938" y="6894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153083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0363" y="1357745"/>
            <a:ext cx="8176437" cy="2119746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4000" b="1" dirty="0" err="1"/>
              <a:t>FS_IIoT</a:t>
            </a:r>
            <a:br>
              <a:rPr lang="en-US" sz="4000" b="1" dirty="0"/>
            </a:br>
            <a:r>
              <a:rPr lang="en-US" sz="4000" b="1" dirty="0"/>
              <a:t>Plan for Conclusion &amp; </a:t>
            </a:r>
            <a:br>
              <a:rPr lang="en-US" sz="4000" b="1" dirty="0"/>
            </a:br>
            <a:r>
              <a:rPr lang="en-US" sz="4000" b="1" dirty="0"/>
              <a:t>Open issue resolution</a:t>
            </a:r>
            <a:endParaRPr lang="en-GB" sz="4000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4099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br>
              <a:rPr lang="en-US" altLang="en-US" sz="2000" dirty="0"/>
            </a:br>
            <a:r>
              <a:rPr lang="en-US" altLang="en-US" sz="2000" dirty="0">
                <a:latin typeface="Arial" pitchFamily="34" charset="0"/>
              </a:rPr>
              <a:t>Nokia (Rapporteur)</a:t>
            </a:r>
            <a:endParaRPr lang="en-GB" altLang="en-US" sz="2000" dirty="0">
              <a:latin typeface="Arial" pitchFamily="34" charset="0"/>
            </a:endParaRPr>
          </a:p>
        </p:txBody>
      </p:sp>
    </p:spTree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200EA-B8B2-4A78-9F4F-66CC150E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1 </a:t>
            </a:r>
            <a:br>
              <a:rPr lang="en-US" dirty="0"/>
            </a:br>
            <a:r>
              <a:rPr lang="en-US" dirty="0"/>
              <a:t>Uplink Time Synchroniz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clusion </a:t>
            </a:r>
          </a:p>
          <a:p>
            <a:pPr lvl="1"/>
            <a:r>
              <a:rPr lang="en-US" sz="2000" dirty="0"/>
              <a:t>Open EN: </a:t>
            </a:r>
            <a:r>
              <a:rPr lang="en-GB" sz="2000" dirty="0"/>
              <a:t>whether NW-TT expose the BMCA outcome to the TSN AF is FFS.</a:t>
            </a:r>
            <a:endParaRPr lang="en-US" sz="2000" dirty="0"/>
          </a:p>
          <a:p>
            <a:r>
              <a:rPr lang="en-US" dirty="0"/>
              <a:t>Solution #1 - one of the main solution supported by majority of the companies.</a:t>
            </a:r>
          </a:p>
          <a:p>
            <a:pPr lvl="1"/>
            <a:r>
              <a:rPr lang="en-US" sz="2000" dirty="0"/>
              <a:t>4 Methods documented for BMCA execution. One needs to be chose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26682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FCCD4-A457-47E3-BB09-2A4CCDAC1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2 </a:t>
            </a:r>
            <a:br>
              <a:rPr lang="en-US" dirty="0"/>
            </a:br>
            <a:r>
              <a:rPr lang="en-US" dirty="0"/>
              <a:t>UE-UE TSC Commun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EEF122-904C-45BD-B2F2-57A8D898BD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 have basic starting point with conclusion regarding AF request but everything else is open.</a:t>
            </a:r>
          </a:p>
          <a:p>
            <a:r>
              <a:rPr lang="en-US" dirty="0"/>
              <a:t>Current agreement:</a:t>
            </a:r>
          </a:p>
          <a:p>
            <a:r>
              <a:rPr lang="en-GB" sz="2000" kern="1200" dirty="0">
                <a:latin typeface="Times New Roman" pitchFamily="18" charset="0"/>
              </a:rPr>
              <a:t>-	TSN AF or any AF provides information (e.g. QoS requirements such as delay, burst size, periodicity, burst arrival time) about a UE-UE TSC stream. </a:t>
            </a:r>
            <a:endParaRPr lang="en-US" sz="2000" kern="1200" dirty="0">
              <a:latin typeface="Times New Roman" pitchFamily="18" charset="0"/>
            </a:endParaRPr>
          </a:p>
          <a:p>
            <a:r>
              <a:rPr lang="en-GB" sz="2000" kern="1200" dirty="0">
                <a:latin typeface="Times New Roman" pitchFamily="18" charset="0"/>
              </a:rPr>
              <a:t>-	TSN AF or any AF sends the request separately for talker (uplink traffic) and listeners (downlink traffic).</a:t>
            </a:r>
            <a:endParaRPr lang="en-US" sz="2000" kern="1200" dirty="0">
              <a:latin typeface="Times New Roman" pitchFamily="18" charset="0"/>
            </a:endParaRPr>
          </a:p>
          <a:p>
            <a:r>
              <a:rPr lang="en-US" dirty="0"/>
              <a:t>Various Solutions with different assumptions behind the problem statements exists:</a:t>
            </a:r>
          </a:p>
          <a:p>
            <a:r>
              <a:rPr lang="en-US" dirty="0"/>
              <a:t>Solutions: 2, 3, 4, 10, 11, 12, 19, 20, 24.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9788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FCCD4-A457-47E3-BB09-2A4CCDAC1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A </a:t>
            </a:r>
            <a:r>
              <a:rPr lang="en-GB" dirty="0"/>
              <a:t>Exposure of TSC services:</a:t>
            </a:r>
            <a:br>
              <a:rPr lang="en-US" dirty="0"/>
            </a:br>
            <a:r>
              <a:rPr lang="en-GB" dirty="0"/>
              <a:t>Exposure of deterministic Qo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EEF122-904C-45BD-B2F2-57A8D898BD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o conclusion exists yet. </a:t>
            </a:r>
          </a:p>
          <a:p>
            <a:r>
              <a:rPr lang="en-US" dirty="0"/>
              <a:t>Solution 5 supported by many, other solutions exists as well – 6, 12, 13, 21, 22, 23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139802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25683-A7FB-4D8F-AF7D-D0F012760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B </a:t>
            </a:r>
            <a:r>
              <a:rPr lang="en-GB" dirty="0"/>
              <a:t>Exposure of TSC services</a:t>
            </a:r>
            <a:br>
              <a:rPr lang="en-US" b="1" dirty="0"/>
            </a:br>
            <a:r>
              <a:rPr lang="en-GB" dirty="0"/>
              <a:t>Exposure of Time Synchronizat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89258C-F3B0-4661-9461-6BE5C76AD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  <a:p>
            <a:pPr lvl="1"/>
            <a:r>
              <a:rPr lang="en-GB" dirty="0"/>
              <a:t>Editor's note:	</a:t>
            </a:r>
            <a:r>
              <a:rPr lang="en-US" dirty="0"/>
              <a:t>whether there is a need to include validity time for AF time sync request is FFS. Also, how to support validity time is FFS.</a:t>
            </a:r>
          </a:p>
          <a:p>
            <a:pPr lvl="1"/>
            <a:r>
              <a:rPr lang="en-GB" dirty="0"/>
              <a:t>Editor's note:	It is FFS how to configure the 5GC (e.g. the UE subscription) to support the AF requesting time synchronization.</a:t>
            </a:r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12863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E392F7-1062-4BC0-AC7A-D69560404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5 </a:t>
            </a:r>
            <a:r>
              <a:rPr lang="en-GB" dirty="0"/>
              <a:t>Use of Survival Time for Deterministic Applications in 5G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FBFDEF-0761-4B81-AA8C-DEB3AAB49F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  <a:p>
            <a:pPr lvl="1"/>
            <a:r>
              <a:rPr lang="en-GB" dirty="0"/>
              <a:t>Editor's note:	Further work is needed to determine how Survival time is communicated towards RAN, i.e., which form is preferred over NGAP</a:t>
            </a:r>
            <a:r>
              <a:rPr lang="en-US" dirty="0"/>
              <a:t>. Preferred format over NGAP depends on the feedback from RAN WG2</a:t>
            </a:r>
            <a:r>
              <a:rPr lang="en-US" dirty="0">
                <a:solidFill>
                  <a:srgbClr val="FF0000"/>
                </a:solidFill>
              </a:rPr>
              <a:t>/3</a:t>
            </a:r>
            <a:r>
              <a:rPr lang="en-US" dirty="0"/>
              <a:t>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207650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D64A24-98ED-407D-9A5D-21AFA1349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n to resolve remaining open issu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AB0707-4F80-448D-9270-B7907F55FE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SA2#141E</a:t>
            </a:r>
          </a:p>
          <a:p>
            <a:pPr lvl="1"/>
            <a:r>
              <a:rPr lang="en-US" sz="2000" dirty="0"/>
              <a:t>Attempt to progress solutions, open issues, especially progress conclusions.</a:t>
            </a:r>
          </a:p>
          <a:p>
            <a:pPr lvl="1"/>
            <a:r>
              <a:rPr lang="en-US" sz="2000" dirty="0"/>
              <a:t>Gather open questions (from now until CC#4 input deadline) that would need resolution via show of hands.</a:t>
            </a:r>
          </a:p>
          <a:p>
            <a:pPr lvl="1"/>
            <a:r>
              <a:rPr lang="en-US" sz="2000" dirty="0"/>
              <a:t>SA2#141E CC#4 – Plan for “Show of hands” during CC#4.</a:t>
            </a:r>
          </a:p>
          <a:p>
            <a:pPr lvl="1"/>
            <a:r>
              <a:rPr lang="en-US" sz="2000" dirty="0"/>
              <a:t>Document the outcome of CC#4 as part of conclusion during SA#142E.</a:t>
            </a:r>
          </a:p>
          <a:p>
            <a:r>
              <a:rPr lang="en-US" sz="2000" dirty="0"/>
              <a:t>SA2#142E</a:t>
            </a:r>
          </a:p>
          <a:p>
            <a:pPr lvl="1"/>
            <a:r>
              <a:rPr lang="en-US" sz="2000" dirty="0"/>
              <a:t>For items that remain unresolved after SA2#141E and items that require show of hands still, plan for “Show of hands” during CC#1 of SA2#142E.</a:t>
            </a:r>
          </a:p>
          <a:p>
            <a:pPr lvl="1"/>
            <a:r>
              <a:rPr lang="en-US" sz="2000" dirty="0"/>
              <a:t>Document the outcome of CC#4 as part of revision of the </a:t>
            </a:r>
            <a:r>
              <a:rPr lang="en-US" sz="2000"/>
              <a:t>papers submitted </a:t>
            </a:r>
            <a:r>
              <a:rPr lang="en-US" sz="2000" dirty="0"/>
              <a:t>during SA#142E.</a:t>
            </a:r>
          </a:p>
          <a:p>
            <a:pPr lvl="1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285774284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nokia powerpoint template nokia pure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321</TotalTime>
  <Words>486</Words>
  <Application>Microsoft Office PowerPoint</Application>
  <PresentationFormat>On-screen Show (4:3)</PresentationFormat>
  <Paragraphs>35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Arial </vt:lpstr>
      <vt:lpstr>Calibri</vt:lpstr>
      <vt:lpstr>Lucida Grande</vt:lpstr>
      <vt:lpstr>Nokia Pure Headline Light</vt:lpstr>
      <vt:lpstr>Nokia Pure Text Light</vt:lpstr>
      <vt:lpstr>Times New Roman</vt:lpstr>
      <vt:lpstr>Office Theme</vt:lpstr>
      <vt:lpstr>nokia powerpoint template nokia pure v13</vt:lpstr>
      <vt:lpstr>think-cell Slide</vt:lpstr>
      <vt:lpstr>FS_IIoT Plan for Conclusion &amp;  Open issue resolution</vt:lpstr>
      <vt:lpstr>Key Issue #1  Uplink Time Synchronization</vt:lpstr>
      <vt:lpstr>Key Issue #2  UE-UE TSC Communication</vt:lpstr>
      <vt:lpstr>Key Issue #3A Exposure of TSC services: Exposure of deterministic QoS</vt:lpstr>
      <vt:lpstr>Key Issue #3B Exposure of TSC services Exposure of Time Synchronization</vt:lpstr>
      <vt:lpstr>Key Issue #5 Use of Survival Time for Deterministic Applications in 5GS</vt:lpstr>
      <vt:lpstr>Plan to resolve remaining open issues</vt:lpstr>
    </vt:vector>
  </TitlesOfParts>
  <Company>3GP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Scrase</dc:creator>
  <dc:description>© 2009  All rights reserved</dc:description>
  <cp:lastModifiedBy>Editor</cp:lastModifiedBy>
  <cp:revision>774</cp:revision>
  <dcterms:created xsi:type="dcterms:W3CDTF">2008-08-30T09:32:10Z</dcterms:created>
  <dcterms:modified xsi:type="dcterms:W3CDTF">2020-09-20T22:00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flag">
    <vt:lpwstr>1436835755</vt:lpwstr>
  </property>
</Properties>
</file>